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110" d="100"/>
          <a:sy n="110" d="100"/>
        </p:scale>
        <p:origin x="792" y="96"/>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1.5649999999999999</c:v>
                </c:pt>
                <c:pt idx="1">
                  <c:v>1.4650000000000001</c:v>
                </c:pt>
                <c:pt idx="2">
                  <c:v>1.117</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5.1040000000000001</c:v>
                </c:pt>
                <c:pt idx="1">
                  <c:v>4.819</c:v>
                </c:pt>
                <c:pt idx="2">
                  <c:v>4.63</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1.7470000000000001</c:v>
                </c:pt>
                <c:pt idx="1">
                  <c:v>1.625</c:v>
                </c:pt>
                <c:pt idx="2">
                  <c:v>1.641</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2.831</c:v>
                </c:pt>
                <c:pt idx="1">
                  <c:v>2.0630000000000002</c:v>
                </c:pt>
                <c:pt idx="2">
                  <c:v>1.891</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12.56</c:v>
                </c:pt>
                <c:pt idx="1">
                  <c:v>13.132999999999999</c:v>
                </c:pt>
                <c:pt idx="2">
                  <c:v>11.852</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4.4109999999999996</c:v>
                </c:pt>
                <c:pt idx="1">
                  <c:v>4.9189999999999996</c:v>
                </c:pt>
                <c:pt idx="2">
                  <c:v>6.2530000000000001</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28.218000000000004</c:v>
                </c:pt>
                <c:pt idx="1">
                  <c:v>28.023999999999997</c:v>
                </c:pt>
                <c:pt idx="2">
                  <c:v>27.384</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718C922B-95CC-450D-89E3-36948E8091A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5FCAE29E-85A1-4B26-80F5-70B8F7738E6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1010724A-9375-4F8D-809A-B09756A23CD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D66DC064-EDCC-42F0-A928-81DC7AF6DDC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7A0A3332-6B25-469A-B409-665909257A2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8E8914D1-EF09-4DB7-97A4-530F70EE4EC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5480661D-682A-4799-9910-EAFA0ED43C8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09C6CF4C-AD3D-4B77-871D-928DB10498A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C6C9AB91-A99F-41AB-A6DA-CF649EB2B1D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18EC8BA8-7FBB-4EE0-B88A-2ECDCA95F50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E7961527-1119-469B-9AA8-6A4A63572AD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CE6466FB-5E1D-4625-BB2C-A5CBBC10DED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D11FF891-D6C1-4525-848C-E1BBF9FA07F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9D28FE67-88CA-42B8-B8B3-A60268D3523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7618ED18-EA89-457C-89A3-9B80E3C3983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D928BEAD-F7A9-4587-8688-D4BEBF1F2F8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CCEBB9D4-3638-43F5-B61B-01B9245ABB2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C9DC1FB1-64CB-4850-8D10-EE0DEE71B44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Industrie</c:v>
                </c:pt>
                <c:pt idx="1">
                  <c:v>Verhuur en overige zakelijke diensten</c:v>
                </c:pt>
                <c:pt idx="2">
                  <c:v>Handel</c:v>
                </c:pt>
                <c:pt idx="3">
                  <c:v>Gezondheids- en welzijnszorg</c:v>
                </c:pt>
                <c:pt idx="4">
                  <c:v>Specialistische zakelijke diensten</c:v>
                </c:pt>
                <c:pt idx="5">
                  <c:v>Openbaar bestuur en overheidsdiensten</c:v>
                </c:pt>
                <c:pt idx="6">
                  <c:v>Bouwnijverheid</c:v>
                </c:pt>
                <c:pt idx="7">
                  <c:v>Onderwijs</c:v>
                </c:pt>
                <c:pt idx="8">
                  <c:v>Vervoer en opslag</c:v>
                </c:pt>
                <c:pt idx="9">
                  <c:v>Horeca</c:v>
                </c:pt>
                <c:pt idx="10">
                  <c:v>Informatie en communicatie</c:v>
                </c:pt>
                <c:pt idx="11">
                  <c:v>Verhuur en handel van onroerend goed</c:v>
                </c:pt>
                <c:pt idx="12">
                  <c:v>Financiële dienstverlening</c:v>
                </c:pt>
                <c:pt idx="13">
                  <c:v>Cultuur, sport en recreatie</c:v>
                </c:pt>
                <c:pt idx="14">
                  <c:v>Overige dienstverlening</c:v>
                </c:pt>
                <c:pt idx="15">
                  <c:v>Landbouw, bosbouw en visserij</c:v>
                </c:pt>
                <c:pt idx="16">
                  <c:v>Energievoorziening</c:v>
                </c:pt>
                <c:pt idx="17">
                  <c:v>Delfstoffenwinning</c:v>
                </c:pt>
                <c:pt idx="18">
                  <c:v>Waterbedrijven en afvalbeheer</c:v>
                </c:pt>
              </c:strCache>
            </c:strRef>
          </c:cat>
          <c:val>
            <c:numRef>
              <c:f>Sheet1!$B$2:$B$20</c:f>
              <c:numCache>
                <c:formatCode>General</c:formatCode>
                <c:ptCount val="19"/>
                <c:pt idx="0">
                  <c:v>2</c:v>
                </c:pt>
                <c:pt idx="1">
                  <c:v>1.7</c:v>
                </c:pt>
                <c:pt idx="2">
                  <c:v>1.5</c:v>
                </c:pt>
                <c:pt idx="3">
                  <c:v>1.4</c:v>
                </c:pt>
                <c:pt idx="4">
                  <c:v>0.9</c:v>
                </c:pt>
                <c:pt idx="5">
                  <c:v>0.9</c:v>
                </c:pt>
                <c:pt idx="6">
                  <c:v>0.6</c:v>
                </c:pt>
                <c:pt idx="7">
                  <c:v>0.6</c:v>
                </c:pt>
                <c:pt idx="8">
                  <c:v>0.4</c:v>
                </c:pt>
                <c:pt idx="9">
                  <c:v>0.3</c:v>
                </c:pt>
                <c:pt idx="10">
                  <c:v>0.2</c:v>
                </c:pt>
                <c:pt idx="11">
                  <c:v>0.2</c:v>
                </c:pt>
                <c:pt idx="12">
                  <c:v>0.1</c:v>
                </c:pt>
                <c:pt idx="13">
                  <c:v>0.1</c:v>
                </c:pt>
                <c:pt idx="14">
                  <c:v>0.1</c:v>
                </c:pt>
                <c:pt idx="15">
                  <c:v>0</c:v>
                </c:pt>
                <c:pt idx="16">
                  <c:v>0</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2</c:v>
                  </c:pt>
                  <c:pt idx="1">
                    <c:v>1,7</c:v>
                  </c:pt>
                  <c:pt idx="2">
                    <c:v>1,5</c:v>
                  </c:pt>
                  <c:pt idx="3">
                    <c:v>1,4</c:v>
                  </c:pt>
                  <c:pt idx="4">
                    <c:v>0,9</c:v>
                  </c:pt>
                  <c:pt idx="5">
                    <c:v>0,9</c:v>
                  </c:pt>
                  <c:pt idx="6">
                    <c:v>0,6</c:v>
                  </c:pt>
                  <c:pt idx="7">
                    <c:v>0,6</c:v>
                  </c:pt>
                  <c:pt idx="8">
                    <c:v>0,4</c:v>
                  </c:pt>
                  <c:pt idx="9">
                    <c:v>0,3</c:v>
                  </c:pt>
                  <c:pt idx="10">
                    <c:v>0,2</c:v>
                  </c:pt>
                  <c:pt idx="11">
                    <c:v>0,2</c:v>
                  </c:pt>
                  <c:pt idx="12">
                    <c:v>0,1</c:v>
                  </c:pt>
                  <c:pt idx="13">
                    <c:v>0,1</c:v>
                  </c:pt>
                  <c:pt idx="14">
                    <c:v>0,1</c:v>
                  </c:pt>
                  <c:pt idx="15">
                    <c:v>0</c:v>
                  </c:pt>
                  <c:pt idx="16">
                    <c:v>0</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E775EB41-91CA-4067-AF4A-4654B7B73A8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A833E9BD-74D8-4A1C-B802-6FE28256811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A980A629-CE7D-44E8-9B76-D974AD2AE08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62F2A12B-22FB-4E3A-B0B7-B2E39E4D390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ECA27C9F-788C-4635-B1A1-322A250FFDD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7660E887-CD58-4B53-8E39-C5F6156E11B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33604607-166C-4805-8F3A-574FD913766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5FD36093-BA21-450D-8479-3818DCCB4DA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B2336D33-F553-486D-9E3B-483A9228011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6B912D49-7EDB-465A-9D78-501F38A8BDD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3346BC2F-FD79-4F69-B9CB-D7513FEE6B9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8BBB4441-05F6-4FAD-8447-15292541A10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767B7CAE-B976-497C-8A7B-487578B97A1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8E8E8E1C-716A-43FB-ADE6-0C545C12DA3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F2314E81-3BEC-4845-A993-83A1418A110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E18C30F6-2688-4726-B5E5-7FE03B0C7CC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0068EBB1-BEE1-493A-B47A-E5EC2C3610B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509E4FC1-0739-43DC-B22A-DB90CC3BC7D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0</c:v>
                </c:pt>
                <c:pt idx="1">
                  <c:v>0.59999999999999987</c:v>
                </c:pt>
                <c:pt idx="2">
                  <c:v>0.10000000000000009</c:v>
                </c:pt>
                <c:pt idx="3">
                  <c:v>-0.89999999999999991</c:v>
                </c:pt>
                <c:pt idx="4">
                  <c:v>0</c:v>
                </c:pt>
                <c:pt idx="5">
                  <c:v>0</c:v>
                </c:pt>
                <c:pt idx="6">
                  <c:v>0.19999999999999996</c:v>
                </c:pt>
                <c:pt idx="7">
                  <c:v>9.9999999999999978E-2</c:v>
                </c:pt>
                <c:pt idx="8">
                  <c:v>0.10000000000000003</c:v>
                </c:pt>
                <c:pt idx="9">
                  <c:v>0</c:v>
                </c:pt>
                <c:pt idx="10">
                  <c:v>0</c:v>
                </c:pt>
                <c:pt idx="11">
                  <c:v>0</c:v>
                </c:pt>
                <c:pt idx="12">
                  <c:v>0</c:v>
                </c:pt>
                <c:pt idx="13">
                  <c:v>0</c:v>
                </c:pt>
                <c:pt idx="14">
                  <c:v>0</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c:v>
                  </c:pt>
                  <c:pt idx="1">
                    <c:v>0,6</c:v>
                  </c:pt>
                  <c:pt idx="2">
                    <c:v>0,1</c:v>
                  </c:pt>
                  <c:pt idx="3">
                    <c:v>-0,9</c:v>
                  </c:pt>
                  <c:pt idx="4">
                    <c:v>0</c:v>
                  </c:pt>
                  <c:pt idx="5">
                    <c:v>0</c:v>
                  </c:pt>
                  <c:pt idx="6">
                    <c:v>0,2</c:v>
                  </c:pt>
                  <c:pt idx="7">
                    <c:v>0,1</c:v>
                  </c:pt>
                  <c:pt idx="8">
                    <c:v>0,1</c:v>
                  </c:pt>
                  <c:pt idx="9">
                    <c:v>0</c:v>
                  </c:pt>
                  <c:pt idx="10">
                    <c:v>-</c:v>
                  </c:pt>
                  <c:pt idx="11">
                    <c:v>-</c:v>
                  </c:pt>
                  <c:pt idx="12">
                    <c:v>0</c:v>
                  </c:pt>
                  <c:pt idx="13">
                    <c:v>0</c:v>
                  </c:pt>
                  <c:pt idx="14">
                    <c:v>0</c:v>
                  </c:pt>
                  <c:pt idx="15">
                    <c:v>0</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6B3A32C7-ACF7-47A5-901C-30C1265DE66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D71F54B4-824A-4930-B9C8-A2CB7B0E90C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BD2784A4-C713-4943-BEF5-3E66656E362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310A39D4-B84B-4A55-9669-4FA109EF8D4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EFC44BEE-DE4C-4150-AFEF-5862D15F38E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2AC79009-4D55-4A88-9289-A370D2E9D90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B52AF8B8-D825-4288-B34B-0ABAE10133C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B2B7E293-7F8E-46B9-B50D-811072CEBF8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4B1E407F-0E32-40D6-B6A0-C0979766519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EFD2F810-C7FE-4C7B-9C24-F360A11337E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755E8220-1819-445E-875D-25302A9366E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3D026AC8-3E31-4AC3-AC75-2F36BD83D54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CCEE623D-EF33-4938-BF83-A1011DD58D4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DAC36E2B-6612-4779-9FDA-DA1F09B6F43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C9397F9C-F061-4484-B891-395075EE1FD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AE051BCD-1C26-486C-B240-18F90AF0DA1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6DD62596-E196-48DB-822D-BC88607D382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BAC147F2-F0D0-4E81-B85E-2FF45DADECC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1.0083086368074921</c:v>
                </c:pt>
                <c:pt idx="1">
                  <c:v>0.20885719526401236</c:v>
                </c:pt>
                <c:pt idx="2">
                  <c:v>-0.17926640290771656</c:v>
                </c:pt>
                <c:pt idx="3">
                  <c:v>-0.23344302014489238</c:v>
                </c:pt>
                <c:pt idx="4">
                  <c:v>0.30719977059838155</c:v>
                </c:pt>
                <c:pt idx="5">
                  <c:v>0.31802340437827037</c:v>
                </c:pt>
                <c:pt idx="6">
                  <c:v>0.40304013839465691</c:v>
                </c:pt>
                <c:pt idx="7">
                  <c:v>-0.13659068406482644</c:v>
                </c:pt>
                <c:pt idx="8">
                  <c:v>-0.21212898328230512</c:v>
                </c:pt>
                <c:pt idx="9">
                  <c:v>-0.46403609038367566</c:v>
                </c:pt>
                <c:pt idx="10">
                  <c:v>-0.45502829358340113</c:v>
                </c:pt>
                <c:pt idx="11">
                  <c:v>1.2655592336620178</c:v>
                </c:pt>
                <c:pt idx="12">
                  <c:v>-0.71069903466063078</c:v>
                </c:pt>
                <c:pt idx="13">
                  <c:v>-0.45157181341585406</c:v>
                </c:pt>
                <c:pt idx="14">
                  <c:v>-0.42609174280021889</c:v>
                </c:pt>
                <c:pt idx="15">
                  <c:v>-1</c:v>
                </c:pt>
                <c:pt idx="16">
                  <c:v>-1</c:v>
                </c:pt>
                <c:pt idx="17">
                  <c:v>0</c:v>
                </c:pt>
                <c:pt idx="18">
                  <c:v>0</c:v>
                </c:pt>
              </c:numCache>
            </c:numRef>
          </c:val>
          <c:extLst>
            <c:ext xmlns:c15="http://schemas.microsoft.com/office/drawing/2012/chart" uri="{02D57815-91ED-43cb-92C2-25804820EDAC}">
              <c15:datalabelsRange>
                <c15:f>Sheet1!$B$2:$B$20</c15:f>
                <c15:dlblRangeCache>
                  <c:ptCount val="19"/>
                  <c:pt idx="0">
                    <c:v>+101%</c:v>
                  </c:pt>
                  <c:pt idx="1">
                    <c:v>+21%</c:v>
                  </c:pt>
                  <c:pt idx="2">
                    <c:v>-18%</c:v>
                  </c:pt>
                  <c:pt idx="3">
                    <c:v>-23%</c:v>
                  </c:pt>
                  <c:pt idx="4">
                    <c:v>+31%</c:v>
                  </c:pt>
                  <c:pt idx="5">
                    <c:v>+32%</c:v>
                  </c:pt>
                  <c:pt idx="6">
                    <c:v>+40%</c:v>
                  </c:pt>
                  <c:pt idx="7">
                    <c:v>-14%</c:v>
                  </c:pt>
                  <c:pt idx="8">
                    <c:v>-21%</c:v>
                  </c:pt>
                  <c:pt idx="9">
                    <c:v>-46%</c:v>
                  </c:pt>
                  <c:pt idx="10">
                    <c:v>-46%</c:v>
                  </c:pt>
                  <c:pt idx="11">
                    <c:v>+127%</c:v>
                  </c:pt>
                  <c:pt idx="12">
                    <c:v>-71%</c:v>
                  </c:pt>
                  <c:pt idx="13">
                    <c:v>-45%</c:v>
                  </c:pt>
                  <c:pt idx="14">
                    <c:v>-43%</c:v>
                  </c:pt>
                  <c:pt idx="15">
                    <c:v>-100%</c:v>
                  </c:pt>
                  <c:pt idx="16">
                    <c:v>-100%</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61904761904761907</c:v>
                </c:pt>
                <c:pt idx="1">
                  <c:v>0.61904761904761907</c:v>
                </c:pt>
                <c:pt idx="2">
                  <c:v>0.61904761904761907</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7.6999998092651373E-2</c:v>
                </c:pt>
                <c:pt idx="1">
                  <c:v>7.3000001907348636E-2</c:v>
                </c:pt>
                <c:pt idx="2">
                  <c:v>4.0999999046325682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952311665636025</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19810847603353157</c:v>
                </c:pt>
                <c:pt idx="1">
                  <c:v>0.20861397313139404</c:v>
                </c:pt>
                <c:pt idx="2">
                  <c:v>0.20952311665636025</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952311665636025</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5.8035394425736186E-2</c:v>
                </c:pt>
                <c:pt idx="1">
                  <c:v>6.0436159755342778E-2</c:v>
                </c:pt>
                <c:pt idx="2">
                  <c:v>6.0019642792186537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952311665636025</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3.5466074371283227E-2</c:v>
                </c:pt>
                <c:pt idx="1">
                  <c:v>4.1868423926894091E-2</c:v>
                </c:pt>
                <c:pt idx="2">
                  <c:v>3.8558073551344073E-2</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952311665636025</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23</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25</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23</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18</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1</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1.092857142857143</c:v>
                </c:pt>
                <c:pt idx="2">
                  <c:v>1.092857142857143</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1.126857142857143</c:v>
                </c:pt>
                <c:pt idx="4" formatCode="0.0%">
                  <c:v>1.126857142857143</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0.92030075187969951</c:v>
                </c:pt>
                <c:pt idx="6" formatCode="0.0%">
                  <c:v>0.92030075187969951</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0.77714285714285725</c:v>
                </c:pt>
                <c:pt idx="8" formatCode="0.0%">
                  <c:v>0.77714285714285725</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0.44155844155844159</c:v>
                </c:pt>
                <c:pt idx="10" formatCode="0.0%">
                  <c:v>0.44155844155844159</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1.1363636363636365</c:v>
                </c:pt>
                <c:pt idx="26">
                  <c:v>1.1363636363636365</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1.2820512820512822</c:v>
                </c:pt>
                <c:pt idx="28">
                  <c:v>1.2820512820512822</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1.1705685618729096</c:v>
                </c:pt>
                <c:pt idx="30">
                  <c:v>1.1705685618729096</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92455621301775137</c:v>
                </c:pt>
                <c:pt idx="32">
                  <c:v>0.92455621301775137</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51775147928994081</c:v>
                </c:pt>
                <c:pt idx="34">
                  <c:v>0.51775147928994081</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1.6551724137931036</c:v>
                </c:pt>
                <c:pt idx="38">
                  <c:v>1.6551724137931036</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1.4519056261343013</c:v>
                </c:pt>
                <c:pt idx="40">
                  <c:v>1.4519056261343013</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1.2137931034482761</c:v>
                </c:pt>
                <c:pt idx="42">
                  <c:v>1.2137931034482761</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1.055472263868066</c:v>
                </c:pt>
                <c:pt idx="44">
                  <c:v>1.055472263868066</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66995073891625612</c:v>
                </c:pt>
                <c:pt idx="46">
                  <c:v>0.66995073891625612</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1.5649999999999999</c:v>
                </c:pt>
                <c:pt idx="1">
                  <c:v>1.4650000000000001</c:v>
                </c:pt>
                <c:pt idx="2">
                  <c:v>1.117</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5.1040000000000001</c:v>
                </c:pt>
                <c:pt idx="1">
                  <c:v>4.819</c:v>
                </c:pt>
                <c:pt idx="2">
                  <c:v>4.63</c:v>
                </c:pt>
                <c:pt idx="3">
                  <c:v>5</c:v>
                </c:pt>
                <c:pt idx="4">
                  <c:v>5</c:v>
                </c:pt>
                <c:pt idx="5">
                  <c:v>4.8000001907348633</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1.7470000000000001</c:v>
                </c:pt>
                <c:pt idx="1">
                  <c:v>1.625</c:v>
                </c:pt>
                <c:pt idx="2">
                  <c:v>1.641</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2.831</c:v>
                </c:pt>
                <c:pt idx="1">
                  <c:v>2.0630000000000002</c:v>
                </c:pt>
                <c:pt idx="2">
                  <c:v>1.891</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12.56</c:v>
                </c:pt>
                <c:pt idx="1">
                  <c:v>13.132999999999999</c:v>
                </c:pt>
                <c:pt idx="2">
                  <c:v>11.852</c:v>
                </c:pt>
                <c:pt idx="3">
                  <c:v>14.699999809265137</c:v>
                </c:pt>
                <c:pt idx="4">
                  <c:v>13.100000381469727</c:v>
                </c:pt>
                <c:pt idx="5">
                  <c:v>13</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4.4109999999999996</c:v>
                </c:pt>
                <c:pt idx="1">
                  <c:v>4.9189999999999996</c:v>
                </c:pt>
                <c:pt idx="2">
                  <c:v>6.2530000000000001</c:v>
                </c:pt>
                <c:pt idx="3">
                  <c:v>7.1999998092651367</c:v>
                </c:pt>
                <c:pt idx="4">
                  <c:v>7.8000001907348633</c:v>
                </c:pt>
                <c:pt idx="5">
                  <c:v>7.1999998092651367</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28.218000000000004</c:v>
                </c:pt>
                <c:pt idx="1">
                  <c:v>28.023999999999997</c:v>
                </c:pt>
                <c:pt idx="2">
                  <c:v>27.384</c:v>
                </c:pt>
                <c:pt idx="3">
                  <c:v>26.899999618530273</c:v>
                </c:pt>
                <c:pt idx="4">
                  <c:v>25.90000057220459</c:v>
                </c:pt>
                <c:pt idx="5">
                  <c:v>25</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65023748345402166</c:v>
                </c:pt>
                <c:pt idx="1">
                  <c:v>0.24791715331308883</c:v>
                </c:pt>
                <c:pt idx="2">
                  <c:v>0.10021023125437982</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214000</c:v>
                </c:pt>
                <c:pt idx="1">
                  <c:v>187000</c:v>
                </c:pt>
                <c:pt idx="2">
                  <c:v>278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305</c:v>
                </c:pt>
                <c:pt idx="1">
                  <c:v>0</c:v>
                </c:pt>
                <c:pt idx="2">
                  <c:v>1980</c:v>
                </c:pt>
                <c:pt idx="3">
                  <c:v>35</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275</c:v>
                </c:pt>
                <c:pt idx="1">
                  <c:v>0</c:v>
                </c:pt>
                <c:pt idx="2">
                  <c:v>1925</c:v>
                </c:pt>
                <c:pt idx="3">
                  <c:v>40</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300</c:v>
                </c:pt>
                <c:pt idx="1">
                  <c:v>0</c:v>
                </c:pt>
                <c:pt idx="2">
                  <c:v>1860</c:v>
                </c:pt>
                <c:pt idx="3">
                  <c:v>40</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pt idx="0">
                  <c:v>0.31666666666666665</c:v>
                </c:pt>
                <c:pt idx="2">
                  <c:v>4.3126684636118601E-2</c:v>
                </c:pt>
                <c:pt idx="3">
                  <c:v>0.25</c:v>
                </c:pt>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pt idx="0">
                  <c:v>0.16666666666666666</c:v>
                </c:pt>
                <c:pt idx="2">
                  <c:v>3.7735849056603772E-2</c:v>
                </c:pt>
                <c:pt idx="3">
                  <c:v>0.375</c:v>
                </c:pt>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pt idx="0">
                  <c:v>0.3</c:v>
                </c:pt>
                <c:pt idx="2">
                  <c:v>0.11051212938005391</c:v>
                </c:pt>
                <c:pt idx="3">
                  <c:v>0.375</c:v>
                </c:pt>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pt idx="0">
                  <c:v>0.13333333333333333</c:v>
                </c:pt>
                <c:pt idx="2">
                  <c:v>0.23450134770889489</c:v>
                </c:pt>
                <c:pt idx="3">
                  <c:v>0</c:v>
                </c:pt>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pt idx="0">
                  <c:v>8.3333333333333329E-2</c:v>
                </c:pt>
                <c:pt idx="2">
                  <c:v>0.57412398921832886</c:v>
                </c:pt>
                <c:pt idx="3">
                  <c:v>0</c:v>
                </c:pt>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0.14000000000000001</c:v>
                </c:pt>
                <c:pt idx="1">
                  <c:v>2.2000000000000002E-2</c:v>
                </c:pt>
                <c:pt idx="2">
                  <c:v>6.0000000000000001E-3</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810</c:v>
                </c:pt>
                <c:pt idx="1">
                  <c:v>860</c:v>
                </c:pt>
                <c:pt idx="2">
                  <c:v>845</c:v>
                </c:pt>
                <c:pt idx="3">
                  <c:v>825</c:v>
                </c:pt>
                <c:pt idx="4">
                  <c:v>830</c:v>
                </c:pt>
                <c:pt idx="5">
                  <c:v>800</c:v>
                </c:pt>
                <c:pt idx="6">
                  <c:v>765</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105</c:v>
                </c:pt>
                <c:pt idx="1">
                  <c:v>100</c:v>
                </c:pt>
                <c:pt idx="2">
                  <c:v>100</c:v>
                </c:pt>
                <c:pt idx="3">
                  <c:v>95</c:v>
                </c:pt>
                <c:pt idx="4">
                  <c:v>105</c:v>
                </c:pt>
                <c:pt idx="5">
                  <c:v>105</c:v>
                </c:pt>
                <c:pt idx="6">
                  <c:v>100</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25</c:v>
                </c:pt>
                <c:pt idx="1">
                  <c:v>20</c:v>
                </c:pt>
                <c:pt idx="2">
                  <c:v>20</c:v>
                </c:pt>
                <c:pt idx="3">
                  <c:v>20</c:v>
                </c:pt>
                <c:pt idx="4">
                  <c:v>15</c:v>
                </c:pt>
                <c:pt idx="5">
                  <c:v>15</c:v>
                </c:pt>
                <c:pt idx="6">
                  <c:v>10</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eendam</c:v>
                </c:pt>
                <c:pt idx="1">
                  <c:v>Nederland</c:v>
                </c:pt>
              </c:strCache>
            </c:strRef>
          </c:cat>
          <c:val>
            <c:numRef>
              <c:f>Sheet1!$B$2:$B$3</c:f>
              <c:numCache>
                <c:formatCode>0%</c:formatCode>
                <c:ptCount val="2"/>
                <c:pt idx="0">
                  <c:v>0.35271317829457366</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eendam</c:v>
                </c:pt>
                <c:pt idx="1">
                  <c:v>Nederland</c:v>
                </c:pt>
              </c:strCache>
            </c:strRef>
          </c:cat>
          <c:val>
            <c:numRef>
              <c:f>Sheet1!$C$2:$C$3</c:f>
              <c:numCache>
                <c:formatCode>0%</c:formatCode>
                <c:ptCount val="2"/>
                <c:pt idx="0">
                  <c:v>0.18410852713178294</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eendam</c:v>
                </c:pt>
                <c:pt idx="1">
                  <c:v>Nederland</c:v>
                </c:pt>
              </c:strCache>
            </c:strRef>
          </c:cat>
          <c:val>
            <c:numRef>
              <c:f>Sheet1!$D$2:$D$3</c:f>
              <c:numCache>
                <c:formatCode>0%</c:formatCode>
                <c:ptCount val="2"/>
                <c:pt idx="0">
                  <c:v>0.2868217054263566</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eendam</c:v>
                </c:pt>
                <c:pt idx="1">
                  <c:v>Nederland</c:v>
                </c:pt>
              </c:strCache>
            </c:strRef>
          </c:cat>
          <c:val>
            <c:numRef>
              <c:f>Sheet1!$E$2:$E$3</c:f>
              <c:numCache>
                <c:formatCode>0%</c:formatCode>
                <c:ptCount val="2"/>
                <c:pt idx="0">
                  <c:v>0.17635658914728683</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8913525498891349</c:v>
                </c:pt>
                <c:pt idx="1">
                  <c:v>0.374</c:v>
                </c:pt>
                <c:pt idx="2">
                  <c:v>0.36923078390268177</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538461391742413</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eendam</c:v>
                </c:pt>
                <c:pt idx="1">
                  <c:v>Nederland</c:v>
                </c:pt>
              </c:strCache>
            </c:strRef>
          </c:cat>
          <c:val>
            <c:numRef>
              <c:f>Sheet1!$B$2:$B$3</c:f>
              <c:numCache>
                <c:formatCode>0.0%</c:formatCode>
                <c:ptCount val="2"/>
                <c:pt idx="0">
                  <c:v>0.46645669291338582</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eendam</c:v>
                </c:pt>
                <c:pt idx="1">
                  <c:v>Nederland</c:v>
                </c:pt>
              </c:strCache>
            </c:strRef>
          </c:cat>
          <c:val>
            <c:numRef>
              <c:f>Sheet1!$C$2:$C$3</c:f>
              <c:numCache>
                <c:formatCode>0.0%</c:formatCode>
                <c:ptCount val="2"/>
                <c:pt idx="0">
                  <c:v>0.34456692913385828</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eendam</c:v>
                </c:pt>
                <c:pt idx="1">
                  <c:v>Nederland</c:v>
                </c:pt>
              </c:strCache>
            </c:strRef>
          </c:cat>
          <c:val>
            <c:numRef>
              <c:f>Sheet1!$D$2:$D$3</c:f>
              <c:numCache>
                <c:formatCode>0.0%</c:formatCode>
                <c:ptCount val="2"/>
                <c:pt idx="0">
                  <c:v>0.14866141732283464</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eendam</c:v>
                </c:pt>
                <c:pt idx="1">
                  <c:v>Nederland</c:v>
                </c:pt>
              </c:strCache>
            </c:strRef>
          </c:cat>
          <c:val>
            <c:numRef>
              <c:f>Sheet1!$E$2:$E$3</c:f>
              <c:numCache>
                <c:formatCode>0.0%</c:formatCode>
                <c:ptCount val="2"/>
                <c:pt idx="0">
                  <c:v>4.0314960629921258E-2</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6EB0EFA6-F6E9-437F-9BAD-211A1DC98FE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E1C8CB75-B934-4B40-B0F1-3F932D1A7DC4}"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99BEFFBF-38E6-4F08-B78B-17E6F1C2380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EAED6C46-A02E-49F2-A015-A873DFA36D2E}"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330783DA-E438-4631-A1D5-1E38B876997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D5C84FB9-0980-4DB9-8A4E-363EE99E9E79}"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keersmisdrijven</c:v>
                </c:pt>
                <c:pt idx="2">
                  <c:v>Vernieling</c:v>
                </c:pt>
                <c:pt idx="3">
                  <c:v>Gewelds- en 
seksuele misdrijven</c:v>
                </c:pt>
                <c:pt idx="4">
                  <c:v>Bedrog</c:v>
                </c:pt>
                <c:pt idx="5">
                  <c:v>Valsheidsmisdrijven</c:v>
                </c:pt>
                <c:pt idx="6">
                  <c:v>Overig</c:v>
                </c:pt>
              </c:strCache>
            </c:strRef>
          </c:cat>
          <c:val>
            <c:numRef>
              <c:f>Sheet1!$B$2:$B$8</c:f>
              <c:numCache>
                <c:formatCode>#,##0</c:formatCode>
                <c:ptCount val="7"/>
                <c:pt idx="0">
                  <c:v>340</c:v>
                </c:pt>
                <c:pt idx="1">
                  <c:v>195</c:v>
                </c:pt>
                <c:pt idx="2">
                  <c:v>190</c:v>
                </c:pt>
                <c:pt idx="3">
                  <c:v>165</c:v>
                </c:pt>
                <c:pt idx="4">
                  <c:v>85</c:v>
                </c:pt>
                <c:pt idx="5">
                  <c:v>55</c:v>
                </c:pt>
                <c:pt idx="6">
                  <c:v>45</c:v>
                </c:pt>
              </c:numCache>
            </c:numRef>
          </c:val>
          <c:extLst>
            <c:ext xmlns:c15="http://schemas.microsoft.com/office/drawing/2012/chart" uri="{02D57815-91ED-43cb-92C2-25804820EDAC}">
              <c15:datalabelsRange>
                <c15:f>Sheet1!$B$2:$B$20</c15:f>
                <c15:dlblRangeCache>
                  <c:ptCount val="19"/>
                  <c:pt idx="0">
                    <c:v>340</c:v>
                  </c:pt>
                  <c:pt idx="1">
                    <c:v>195</c:v>
                  </c:pt>
                  <c:pt idx="2">
                    <c:v>190</c:v>
                  </c:pt>
                  <c:pt idx="3">
                    <c:v>165</c:v>
                  </c:pt>
                  <c:pt idx="4">
                    <c:v>85</c:v>
                  </c:pt>
                  <c:pt idx="5">
                    <c:v>55</c:v>
                  </c:pt>
                  <c:pt idx="6">
                    <c:v>45</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42AD7721-5A11-4C68-ACA5-C987554646A5}"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72ADB350-F34C-4FD4-BD12-E9791B518700}"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52C2F2B4-D8F5-47BD-AA5C-27ADDF278CE1}"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9904974B-4047-472B-9DB0-5A5D54E3B9F3}"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9CEDCAFA-F671-46E4-888F-F3E1A3C7C640}"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DCB98935-856A-46C1-AF7B-0010523C40EA}"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42874617733078618</c:v>
                </c:pt>
                <c:pt idx="1">
                  <c:v>-6.8751496612161744E-3</c:v>
                </c:pt>
                <c:pt idx="2">
                  <c:v>0.17043729299603655</c:v>
                </c:pt>
                <c:pt idx="3">
                  <c:v>0.24649312015423047</c:v>
                </c:pt>
                <c:pt idx="4">
                  <c:v>-8.3989206285955726E-4</c:v>
                </c:pt>
                <c:pt idx="5">
                  <c:v>-4.1030601454867324E-2</c:v>
                </c:pt>
                <c:pt idx="6">
                  <c:v>-0.3712821121924601</c:v>
                </c:pt>
              </c:numCache>
            </c:numRef>
          </c:val>
          <c:extLst>
            <c:ext xmlns:c15="http://schemas.microsoft.com/office/drawing/2012/chart" uri="{02D57815-91ED-43cb-92C2-25804820EDAC}">
              <c15:datalabelsRange>
                <c15:f>Sheet1!$B$2:$B$35</c15:f>
                <c15:dlblRangeCache>
                  <c:ptCount val="34"/>
                  <c:pt idx="0">
                    <c:v>-43%</c:v>
                  </c:pt>
                  <c:pt idx="1">
                    <c:v>-1%</c:v>
                  </c:pt>
                  <c:pt idx="2">
                    <c:v>+17%</c:v>
                  </c:pt>
                  <c:pt idx="3">
                    <c:v>+25%</c:v>
                  </c:pt>
                  <c:pt idx="4">
                    <c:v>-0%</c:v>
                  </c:pt>
                  <c:pt idx="5">
                    <c:v>-4%</c:v>
                  </c:pt>
                  <c:pt idx="6">
                    <c:v>-37%</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66039EED-A9D2-4C93-B839-13F4017920F8}"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01F87C48-5F9E-4B09-B35E-09A9759FF3B7}"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77A92E29-5941-4B9F-9BB6-9D18593C7BB9}"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C0A19BD1-4CE9-42C0-BEAA-5F35AC9817FD}"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604C14A8-0B07-412D-A891-6F7D2C5B7220}"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68EB-4C02-BB04-52CFC60296C5}"/>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68EB-4C02-BB04-52CFC60296C5}"/>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8EB-4C02-BB04-52CFC60296C5}"/>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68EB-4C02-BB04-52CFC60296C5}"/>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68EB-4C02-BB04-52CFC60296C5}"/>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8EB-4C02-BB04-52CFC60296C5}"/>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68EB-4C02-BB04-52CFC60296C5}"/>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68EB-4C02-BB04-52CFC60296C5}"/>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68EB-4C02-BB04-52CFC60296C5}"/>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68EB-4C02-BB04-52CFC60296C5}"/>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68EB-4C02-BB04-52CFC60296C5}"/>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68EB-4C02-BB04-52CFC60296C5}"/>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8EB-4C02-BB04-52CFC60296C5}"/>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8EB-4C02-BB04-52CFC60296C5}"/>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68EB-4C02-BB04-52CFC60296C5}"/>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8EB-4C02-BB04-52CFC60296C5}"/>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8EB-4C02-BB04-52CFC60296C5}"/>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68EB-4C02-BB04-52CFC60296C5}"/>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68EB-4C02-BB04-52CFC60296C5}"/>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8EB-4C02-BB04-52CFC60296C5}"/>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8EB-4C02-BB04-52CFC60296C5}"/>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68EB-4C02-BB04-52CFC60296C5}"/>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68EB-4C02-BB04-52CFC60296C5}"/>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68EB-4C02-BB04-52CFC60296C5}"/>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68EB-4C02-BB04-52CFC60296C5}"/>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8EB-4C02-BB04-52CFC60296C5}"/>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68EB-4C02-BB04-52CFC60296C5}"/>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8EB-4C02-BB04-52CFC60296C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34581755454373347</c:v>
                </c:pt>
                <c:pt idx="1">
                  <c:v>-0.26478574665810517</c:v>
                </c:pt>
                <c:pt idx="2">
                  <c:v>-0.13464034967109267</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18395182159535534</c:v>
                </c:pt>
                <c:pt idx="1">
                  <c:v>6.1056262331445933E-2</c:v>
                </c:pt>
                <c:pt idx="2">
                  <c:v>1.6682701465015954E-2</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V'12</c:v>
                  </c:pt>
                  <c:pt idx="1">
                    <c:v>V'17</c:v>
                  </c:pt>
                  <c:pt idx="2">
                    <c:v>V'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C0676A2E-7F28-462E-9523-CF7C901EFD10}"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0C62E10D-FC3B-4A81-A910-B2938795733D}"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B4222CB3-6233-4B61-A82C-EB1A7F1FE49E}"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9A56F5FB-9D4B-426B-A961-1E18F60ECFE7}"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724AEA79-1D10-435D-A53D-3281FB26E647}"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929-4A91-A443-26CC7C62197A}"/>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929-4A91-A443-26CC7C62197A}"/>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929-4A91-A443-26CC7C62197A}"/>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929-4A91-A443-26CC7C62197A}"/>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929-4A91-A443-26CC7C62197A}"/>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929-4A91-A443-26CC7C62197A}"/>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929-4A91-A443-26CC7C62197A}"/>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929-4A91-A443-26CC7C62197A}"/>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D929-4A91-A443-26CC7C62197A}"/>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D929-4A91-A443-26CC7C62197A}"/>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D929-4A91-A443-26CC7C62197A}"/>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D929-4A91-A443-26CC7C62197A}"/>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D929-4A91-A443-26CC7C62197A}"/>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D929-4A91-A443-26CC7C62197A}"/>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D929-4A91-A443-26CC7C62197A}"/>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D929-4A91-A443-26CC7C62197A}"/>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D929-4A91-A443-26CC7C62197A}"/>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D929-4A91-A443-26CC7C62197A}"/>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D929-4A91-A443-26CC7C62197A}"/>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D929-4A91-A443-26CC7C62197A}"/>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D929-4A91-A443-26CC7C62197A}"/>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D929-4A91-A443-26CC7C62197A}"/>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D929-4A91-A443-26CC7C62197A}"/>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D929-4A91-A443-26CC7C62197A}"/>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D929-4A91-A443-26CC7C62197A}"/>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D929-4A91-A443-26CC7C62197A}"/>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D929-4A91-A443-26CC7C62197A}"/>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D929-4A91-A443-26CC7C62197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1.2632955654423824E-2</c:v>
                </c:pt>
                <c:pt idx="1">
                  <c:v>-8.9771195528573933E-2</c:v>
                </c:pt>
                <c:pt idx="2">
                  <c:v>-0.13464034967109267</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2419657266818124</c:v>
                </c:pt>
                <c:pt idx="1">
                  <c:v>-4.7612320530033281E-2</c:v>
                </c:pt>
                <c:pt idx="2">
                  <c:v>1.6682701465015954E-2</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V'12</c:v>
                  </c:pt>
                  <c:pt idx="1">
                    <c:v>V'17</c:v>
                  </c:pt>
                  <c:pt idx="2">
                    <c:v>V'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17423955572384198</c:v>
                </c:pt>
                <c:pt idx="1">
                  <c:v>4.4112078758046194E-2</c:v>
                </c:pt>
                <c:pt idx="2">
                  <c:v>9.503975766755017E-2</c:v>
                </c:pt>
                <c:pt idx="3">
                  <c:v>5.7112204972863817E-2</c:v>
                </c:pt>
                <c:pt idx="4">
                  <c:v>0.121166224914805</c:v>
                </c:pt>
                <c:pt idx="5">
                  <c:v>0.42143127603180613</c:v>
                </c:pt>
                <c:pt idx="6">
                  <c:v>1.1106903950523791E-2</c:v>
                </c:pt>
                <c:pt idx="7">
                  <c:v>0</c:v>
                </c:pt>
                <c:pt idx="8">
                  <c:v>1.7606967057932601E-2</c:v>
                </c:pt>
                <c:pt idx="9">
                  <c:v>2.9534267322983719E-2</c:v>
                </c:pt>
                <c:pt idx="10">
                  <c:v>0</c:v>
                </c:pt>
                <c:pt idx="11">
                  <c:v>0</c:v>
                </c:pt>
                <c:pt idx="12">
                  <c:v>4.2913037990660102E-3</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13892942618644563</c:v>
                </c:pt>
                <c:pt idx="1">
                  <c:v>9.112135893993345E-2</c:v>
                </c:pt>
                <c:pt idx="2">
                  <c:v>0.16525596871169226</c:v>
                </c:pt>
                <c:pt idx="3">
                  <c:v>9.9352051835853133E-2</c:v>
                </c:pt>
                <c:pt idx="4">
                  <c:v>0.18983129998248788</c:v>
                </c:pt>
                <c:pt idx="5">
                  <c:v>9.2872570194384454E-2</c:v>
                </c:pt>
                <c:pt idx="6">
                  <c:v>6.9056097133850913E-2</c:v>
                </c:pt>
                <c:pt idx="7">
                  <c:v>1.9555192341369446E-2</c:v>
                </c:pt>
                <c:pt idx="8">
                  <c:v>2.5217442064094334E-2</c:v>
                </c:pt>
                <c:pt idx="9">
                  <c:v>2.9712217617185219E-2</c:v>
                </c:pt>
                <c:pt idx="10">
                  <c:v>0</c:v>
                </c:pt>
                <c:pt idx="11">
                  <c:v>0</c:v>
                </c:pt>
                <c:pt idx="12">
                  <c:v>3.9694121767555896E-3</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17157997320014617</c:v>
                </c:pt>
                <c:pt idx="1">
                  <c:v>0.10305761968571081</c:v>
                </c:pt>
                <c:pt idx="2">
                  <c:v>0.15269825800950176</c:v>
                </c:pt>
                <c:pt idx="3">
                  <c:v>7.5344134486539163E-2</c:v>
                </c:pt>
                <c:pt idx="4">
                  <c:v>0.12449750274089413</c:v>
                </c:pt>
                <c:pt idx="5">
                  <c:v>0.10933122182969911</c:v>
                </c:pt>
                <c:pt idx="6">
                  <c:v>2.89925691314411E-2</c:v>
                </c:pt>
                <c:pt idx="7">
                  <c:v>7.5892313314654652E-2</c:v>
                </c:pt>
                <c:pt idx="8">
                  <c:v>2.8566207820684614E-2</c:v>
                </c:pt>
                <c:pt idx="9">
                  <c:v>2.9784382994274577E-2</c:v>
                </c:pt>
                <c:pt idx="10">
                  <c:v>8.8926787672067246E-3</c:v>
                </c:pt>
                <c:pt idx="11">
                  <c:v>2.0952612985747351E-2</c:v>
                </c:pt>
                <c:pt idx="12">
                  <c:v>4.2027043488853701E-3</c:v>
                </c:pt>
                <c:pt idx="13">
                  <c:v>1.5227189669874528E-2</c:v>
                </c:pt>
                <c:pt idx="14">
                  <c:v>1.3034474357412595E-2</c:v>
                </c:pt>
                <c:pt idx="15">
                  <c:v>1.388719697892557E-2</c:v>
                </c:pt>
                <c:pt idx="16">
                  <c:v>1.644536484346449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2</c:v>
                </c:pt>
                <c:pt idx="1">
                  <c:v>0</c:v>
                </c:pt>
                <c:pt idx="2">
                  <c:v>1</c:v>
                </c:pt>
                <c:pt idx="3">
                  <c:v>0</c:v>
                </c:pt>
                <c:pt idx="4">
                  <c:v>0</c:v>
                </c:pt>
                <c:pt idx="5">
                  <c:v>0</c:v>
                </c:pt>
                <c:pt idx="6">
                  <c:v>6</c:v>
                </c:pt>
                <c:pt idx="7">
                  <c:v>1</c:v>
                </c:pt>
                <c:pt idx="8">
                  <c:v>0</c:v>
                </c:pt>
                <c:pt idx="9">
                  <c:v>0</c:v>
                </c:pt>
                <c:pt idx="10">
                  <c:v>0</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2</c:v>
                </c:pt>
                <c:pt idx="1">
                  <c:v>0</c:v>
                </c:pt>
                <c:pt idx="2">
                  <c:v>1</c:v>
                </c:pt>
                <c:pt idx="3">
                  <c:v>0</c:v>
                </c:pt>
                <c:pt idx="4">
                  <c:v>0</c:v>
                </c:pt>
                <c:pt idx="5">
                  <c:v>0</c:v>
                </c:pt>
                <c:pt idx="6">
                  <c:v>6</c:v>
                </c:pt>
                <c:pt idx="7">
                  <c:v>1</c:v>
                </c:pt>
                <c:pt idx="8">
                  <c:v>0</c:v>
                </c:pt>
                <c:pt idx="9">
                  <c:v>0</c:v>
                </c:pt>
                <c:pt idx="10">
                  <c:v>0</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1</c:v>
                </c:pt>
                <c:pt idx="1">
                  <c:v>0</c:v>
                </c:pt>
                <c:pt idx="2">
                  <c:v>1</c:v>
                </c:pt>
                <c:pt idx="3">
                  <c:v>1</c:v>
                </c:pt>
                <c:pt idx="4">
                  <c:v>1</c:v>
                </c:pt>
                <c:pt idx="5">
                  <c:v>3</c:v>
                </c:pt>
                <c:pt idx="6">
                  <c:v>4</c:v>
                </c:pt>
                <c:pt idx="7">
                  <c:v>0</c:v>
                </c:pt>
                <c:pt idx="8">
                  <c:v>0</c:v>
                </c:pt>
                <c:pt idx="9">
                  <c:v>0</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2"/>
                <c:pt idx="0">
                  <c:v>GemeenteBelangen Veendam (GB)</c:v>
                </c:pt>
                <c:pt idx="1">
                  <c:v>VUK</c:v>
                </c:pt>
              </c:strCache>
            </c:strRef>
          </c:cat>
          <c:val>
            <c:numRef>
              <c:f>Sheet1!$B$2:$B$9</c:f>
              <c:numCache>
                <c:formatCode>0</c:formatCode>
                <c:ptCount val="8"/>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2"/>
                <c:pt idx="0">
                  <c:v>GemeenteBelangen Veendam (GB)</c:v>
                </c:pt>
                <c:pt idx="1">
                  <c:v>VUK</c:v>
                </c:pt>
              </c:strCache>
            </c:strRef>
          </c:cat>
          <c:val>
            <c:numRef>
              <c:f>Sheet1!$C$2:$C$9</c:f>
              <c:numCache>
                <c:formatCode>0</c:formatCode>
                <c:ptCount val="8"/>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fld id="{CF9AB373-19C3-4278-A3B3-E874635C248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5A9-432E-B386-93EF51010C41}"/>
                </c:ext>
              </c:extLst>
            </c:dLbl>
            <c:dLbl>
              <c:idx val="2"/>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3-35A9-432E-B386-93EF51010C41}"/>
                </c:ext>
              </c:extLst>
            </c:dLbl>
            <c:dLbl>
              <c:idx val="3"/>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35A9-432E-B386-93EF51010C41}"/>
                </c:ext>
              </c:extLst>
            </c:dLbl>
            <c:dLbl>
              <c:idx val="4"/>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5A9-432E-B386-93EF51010C41}"/>
                </c:ext>
              </c:extLst>
            </c:dLbl>
            <c:dLbl>
              <c:idx val="5"/>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9</c:f>
              <c:strCache>
                <c:ptCount val="2"/>
                <c:pt idx="0">
                  <c:v>GemeenteBelangen Veendam (GB)</c:v>
                </c:pt>
                <c:pt idx="1">
                  <c:v>VUK</c:v>
                </c:pt>
              </c:strCache>
            </c:strRef>
          </c:cat>
          <c:val>
            <c:numRef>
              <c:f>Sheet1!$D$2:$D$9</c:f>
              <c:numCache>
                <c:formatCode>0</c:formatCode>
                <c:ptCount val="8"/>
                <c:pt idx="0">
                  <c:v>7</c:v>
                </c:pt>
                <c:pt idx="1">
                  <c:v>2</c:v>
                </c:pt>
              </c:numCache>
            </c:numRef>
          </c:val>
          <c:extLst>
            <c:ext xmlns:c15="http://schemas.microsoft.com/office/drawing/2012/chart" uri="{02D57815-91ED-43cb-92C2-25804820EDAC}">
              <c15:datalabelsRange>
                <c15:f>Sheet1!$D$2:$D$7</c15:f>
                <c15:dlblRangeCache>
                  <c:ptCount val="6"/>
                  <c:pt idx="0">
                    <c:v>7</c:v>
                  </c:pt>
                  <c:pt idx="1">
                    <c:v>2</c:v>
                  </c:pt>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eendam</c:v>
                </c:pt>
                <c:pt idx="1">
                  <c:v>Nederland</c:v>
                </c:pt>
              </c:strCache>
            </c:strRef>
          </c:cat>
          <c:val>
            <c:numRef>
              <c:f>Sheet1!$B$2:$B$3</c:f>
              <c:numCache>
                <c:formatCode>0%</c:formatCode>
                <c:ptCount val="2"/>
                <c:pt idx="0">
                  <c:v>0</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eendam</c:v>
                </c:pt>
                <c:pt idx="1">
                  <c:v>Nederland</c:v>
                </c:pt>
              </c:strCache>
            </c:strRef>
          </c:cat>
          <c:val>
            <c:numRef>
              <c:f>Sheet1!$C$2:$C$3</c:f>
              <c:numCache>
                <c:formatCode>0%</c:formatCode>
                <c:ptCount val="2"/>
                <c:pt idx="0">
                  <c:v>0.95469798657718119</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eendam</c:v>
                </c:pt>
                <c:pt idx="1">
                  <c:v>Nederland</c:v>
                </c:pt>
              </c:strCache>
            </c:strRef>
          </c:cat>
          <c:val>
            <c:numRef>
              <c:f>Sheet1!$D$2:$D$3</c:f>
              <c:numCache>
                <c:formatCode>0%</c:formatCode>
                <c:ptCount val="2"/>
                <c:pt idx="0">
                  <c:v>0</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Veendam</c:v>
                </c:pt>
                <c:pt idx="1">
                  <c:v>Nederland</c:v>
                </c:pt>
              </c:strCache>
            </c:strRef>
          </c:cat>
          <c:val>
            <c:numRef>
              <c:f>Sheet1!$E$2:$E$3</c:f>
              <c:numCache>
                <c:formatCode>0%</c:formatCode>
                <c:ptCount val="2"/>
                <c:pt idx="0">
                  <c:v>4.5302013422818789E-2</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538461391742413</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5738125802310652</c:v>
                </c:pt>
                <c:pt idx="1">
                  <c:v>0.40600000000000003</c:v>
                </c:pt>
                <c:pt idx="2">
                  <c:v>0.5538461391742413</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538461391742413</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538461391742413</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idden-Groningen</c:v>
                </c:pt>
                <c:pt idx="1">
                  <c:v>Groningen</c:v>
                </c:pt>
                <c:pt idx="2">
                  <c:v>Oldambt</c:v>
                </c:pt>
                <c:pt idx="3">
                  <c:v>Pekela</c:v>
                </c:pt>
                <c:pt idx="4">
                  <c:v>Stadskanaal</c:v>
                </c:pt>
                <c:pt idx="5">
                  <c:v>Aa en Hunze</c:v>
                </c:pt>
                <c:pt idx="6">
                  <c:v>Westerwolde</c:v>
                </c:pt>
                <c:pt idx="7">
                  <c:v>Assen</c:v>
                </c:pt>
                <c:pt idx="8">
                  <c:v>Tynaarlo</c:v>
                </c:pt>
                <c:pt idx="9">
                  <c:v>Emmen</c:v>
                </c:pt>
              </c:strCache>
            </c:strRef>
          </c:cat>
          <c:val>
            <c:numRef>
              <c:f>Sheet1!$B$2:$B$11</c:f>
              <c:numCache>
                <c:formatCode>General</c:formatCode>
                <c:ptCount val="10"/>
                <c:pt idx="0">
                  <c:v>268</c:v>
                </c:pt>
                <c:pt idx="1">
                  <c:v>241</c:v>
                </c:pt>
                <c:pt idx="2">
                  <c:v>89</c:v>
                </c:pt>
                <c:pt idx="3">
                  <c:v>86</c:v>
                </c:pt>
                <c:pt idx="4">
                  <c:v>80</c:v>
                </c:pt>
                <c:pt idx="5">
                  <c:v>69</c:v>
                </c:pt>
                <c:pt idx="6">
                  <c:v>53</c:v>
                </c:pt>
                <c:pt idx="7">
                  <c:v>48</c:v>
                </c:pt>
                <c:pt idx="8">
                  <c:v>32</c:v>
                </c:pt>
                <c:pt idx="9">
                  <c:v>30</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Midden-Groningen</c:v>
                </c:pt>
                <c:pt idx="1">
                  <c:v>Groningen</c:v>
                </c:pt>
                <c:pt idx="2">
                  <c:v>Oldambt</c:v>
                </c:pt>
                <c:pt idx="3">
                  <c:v>Pekela</c:v>
                </c:pt>
                <c:pt idx="4">
                  <c:v>Stadskanaal</c:v>
                </c:pt>
                <c:pt idx="5">
                  <c:v>Aa en Hunze</c:v>
                </c:pt>
                <c:pt idx="6">
                  <c:v>Westerwolde</c:v>
                </c:pt>
                <c:pt idx="7">
                  <c:v>Assen</c:v>
                </c:pt>
                <c:pt idx="8">
                  <c:v>Tynaarlo</c:v>
                </c:pt>
                <c:pt idx="9">
                  <c:v>Emmen</c:v>
                </c:pt>
              </c:strCache>
            </c:strRef>
          </c:cat>
          <c:val>
            <c:numRef>
              <c:f>Sheet1!$C$2:$C$11</c:f>
              <c:numCache>
                <c:formatCode>General</c:formatCode>
                <c:ptCount val="10"/>
                <c:pt idx="0">
                  <c:v>28</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idden-Groningen</c:v>
                </c:pt>
                <c:pt idx="1">
                  <c:v>Groningen</c:v>
                </c:pt>
                <c:pt idx="2">
                  <c:v>Oldambt</c:v>
                </c:pt>
                <c:pt idx="3">
                  <c:v>Pekela</c:v>
                </c:pt>
                <c:pt idx="4">
                  <c:v>Stadskanaal</c:v>
                </c:pt>
                <c:pt idx="5">
                  <c:v>Aa en Hunze</c:v>
                </c:pt>
                <c:pt idx="6">
                  <c:v>Westerwolde</c:v>
                </c:pt>
                <c:pt idx="7">
                  <c:v>Assen</c:v>
                </c:pt>
                <c:pt idx="8">
                  <c:v>Tynaarlo</c:v>
                </c:pt>
                <c:pt idx="9">
                  <c:v>Emmen</c:v>
                </c:pt>
              </c:strCache>
            </c:strRef>
          </c:cat>
          <c:val>
            <c:numRef>
              <c:f>Sheet1!$B$2:$B$11</c:f>
              <c:numCache>
                <c:formatCode>General</c:formatCode>
                <c:ptCount val="10"/>
                <c:pt idx="0">
                  <c:v>296</c:v>
                </c:pt>
                <c:pt idx="1">
                  <c:v>201</c:v>
                </c:pt>
                <c:pt idx="2">
                  <c:v>100</c:v>
                </c:pt>
                <c:pt idx="3">
                  <c:v>90</c:v>
                </c:pt>
                <c:pt idx="4">
                  <c:v>56</c:v>
                </c:pt>
                <c:pt idx="5">
                  <c:v>51</c:v>
                </c:pt>
                <c:pt idx="6">
                  <c:v>50</c:v>
                </c:pt>
                <c:pt idx="7">
                  <c:v>48</c:v>
                </c:pt>
                <c:pt idx="8">
                  <c:v>48</c:v>
                </c:pt>
                <c:pt idx="9">
                  <c:v>25</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Midden-Groningen</c:v>
                </c:pt>
                <c:pt idx="1">
                  <c:v>Groningen</c:v>
                </c:pt>
                <c:pt idx="2">
                  <c:v>Oldambt</c:v>
                </c:pt>
                <c:pt idx="3">
                  <c:v>Pekela</c:v>
                </c:pt>
                <c:pt idx="4">
                  <c:v>Stadskanaal</c:v>
                </c:pt>
                <c:pt idx="5">
                  <c:v>Aa en Hunze</c:v>
                </c:pt>
                <c:pt idx="6">
                  <c:v>Westerwolde</c:v>
                </c:pt>
                <c:pt idx="7">
                  <c:v>Assen</c:v>
                </c:pt>
                <c:pt idx="8">
                  <c:v>Tynaarlo</c:v>
                </c:pt>
                <c:pt idx="9">
                  <c:v>Emmen</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7.6923076923076927E-2</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53846153846153844</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15384615384615385</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23076923076923078</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8-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6"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CE926EC-2674-49F8-9BF7-268C5D6077A0}"/>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 y="-1270000"/>
            <a:ext cx="12700000" cy="12642864"/>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866568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Veendam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Veendam</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1963011025"/>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3732848148"/>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Veendam vallen 10,0% van de huishoudens in de hoogste inkomensgroep (rijkste 20% van Nederland). Er zijn dus relatief weinig rijken in Veendam. De oranje balk komt dus onder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Veendam zijn de arme eenpersoonshuishoudens oververtegenwoordigd. De oranje balk komt dus boven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Veendam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Veendam</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12.843</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16</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1.765</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30%</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634455151"/>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3858879567"/>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Veendam</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2.095</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76</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0</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6%</a:t>
            </a: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14%</a:t>
            </a: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2923296123"/>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3564112291"/>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Veendam</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4,3%</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8,9%</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9,0%</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3865858431"/>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912903142"/>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Veendam</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Veendam</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Veendam</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Veendam</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Veendam</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Veendam</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2.140</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481</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32</a:t>
            </a: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280 mind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82 mind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9 mind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1380317758"/>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4116672215"/>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Veendam</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39,1</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Gewelds- en 
seksuele misdrijven</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Overig</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Drugsmisdrijven(10), Heling(5) en Afpersing en afdreiging(5).</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1.075</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17%</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4032723851"/>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247964659"/>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Veendam het meest ov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Veendam het meest ond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Veendam</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Veendam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Veendam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Veendam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2004996063"/>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299818061"/>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Veendam</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Veendam</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22.011</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75%</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3296635916"/>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Veendam</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Veendam</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22.134</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51,4%</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1956413902"/>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3515551595"/>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Veendam</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65</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0,0%</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2925763448"/>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hidden="1">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Veendam</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Veendam</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96756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27.384</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834</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43</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2809521134"/>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daling van 3%</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Veendam</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4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1%</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8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3%</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32</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79</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32</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3375210512"/>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Veendam</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4235185165"/>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3387855890"/>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Veendam</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981230101"/>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411753645"/>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44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1%</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3%</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Veendam</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75% van de verhuizers naar Veendam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71% van de verhuizers weg uit Veendam</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2522254097"/>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3526095649"/>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Veendam</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Veendam</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11.4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13.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0,86</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2545314780"/>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Veendam</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Industrie</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2.0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Bouwnijverheid</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a:solidFill>
                  <a:srgbClr val="EC6224"/>
                </a:solidFill>
              </a:rPr>
              <a:t>+2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Verhuur en handel van onroerend goed</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127%</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1142610200"/>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3120608852"/>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1953347948"/>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Veendam</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37.300</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9%</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gemeente van Nederland met het laa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1620217912"/>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1130621238"/>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1907004894"/>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2451862401"/>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1446591136"/>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0%</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3,6%</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1,2%</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2%</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4%</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Veendam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Veendam</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024</Words>
  <Application>Microsoft Office PowerPoint</Application>
  <PresentationFormat>Widescreen</PresentationFormat>
  <Paragraphs>428</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Veendam</vt:lpstr>
      <vt:lpstr>PowerPoint Presentation</vt:lpstr>
      <vt:lpstr>Historische bevolkingsontwikkeling Veenda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4</cp:revision>
  <dcterms:created xsi:type="dcterms:W3CDTF">2020-10-22T09:20:51Z</dcterms:created>
  <dcterms:modified xsi:type="dcterms:W3CDTF">2021-11-18T08:38:31Z</dcterms:modified>
</cp:coreProperties>
</file>